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6" r:id="rId2"/>
    <p:sldId id="420" r:id="rId3"/>
    <p:sldId id="421" r:id="rId4"/>
    <p:sldId id="419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77" autoAdjust="0"/>
    <p:restoredTop sz="94660"/>
  </p:normalViewPr>
  <p:slideViewPr>
    <p:cSldViewPr>
      <p:cViewPr varScale="1">
        <p:scale>
          <a:sx n="181" d="100"/>
          <a:sy n="181" d="100"/>
        </p:scale>
        <p:origin x="792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33E7E92B-59FA-49FB-B014-1669F564A86F}" type="datetimeFigureOut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5CAD7887-406F-46CC-9589-B5DF14B164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477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D7B8707-E1CD-4CEF-A00B-04778EC3BE00}" type="datetimeFigureOut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692987E-3A66-4994-9BE4-8BDBBB69D1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0578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602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0DCA77-AE49-4A9C-A909-3537221CB17F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0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0382D7-6004-43C9-AB02-56543EB3FDAB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D066EC-5749-4585-9837-C7D7BD5CB8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15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D6C3C-A366-4DF9-81B4-5B0188B44BD9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236EC8-B6B4-4047-8E94-DB4977AA8C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753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8308A0-081A-40E0-AB91-AE760FA81C51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83A777-F07E-472E-A020-7B4D580524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934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6397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9906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906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6576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6576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31DDB-45BE-4D5A-8382-8E06A7A6251F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F69CA-01CC-4DEF-B5D8-B239B6D1E8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99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0651"/>
            <a:ext cx="8229600" cy="715962"/>
          </a:xfrm>
        </p:spPr>
        <p:txBody>
          <a:bodyPr>
            <a:normAutofit/>
          </a:bodyPr>
          <a:lstStyle>
            <a:lvl1pPr>
              <a:defRPr sz="3200" baseline="0">
                <a:solidFill>
                  <a:srgbClr val="0070C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334000"/>
          </a:xfrm>
        </p:spPr>
        <p:txBody>
          <a:bodyPr/>
          <a:lstStyle>
            <a:lvl1pPr>
              <a:buClr>
                <a:srgbClr val="0070C0"/>
              </a:buClr>
              <a:buFont typeface="Wingdings" pitchFamily="2" charset="2"/>
              <a:buChar char="§"/>
              <a:defRPr sz="1800" baseline="0"/>
            </a:lvl1pPr>
            <a:lvl2pPr>
              <a:buClr>
                <a:srgbClr val="92D050"/>
              </a:buClr>
              <a:buFont typeface="Wingdings" pitchFamily="2" charset="2"/>
              <a:buChar char="§"/>
              <a:defRPr sz="1800" baseline="0"/>
            </a:lvl2pPr>
            <a:lvl3pPr>
              <a:buClr>
                <a:srgbClr val="FF0000"/>
              </a:buClr>
              <a:buFont typeface="Wingdings" pitchFamily="2" charset="2"/>
              <a:buChar char="§"/>
              <a:defRPr sz="1600" baseline="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A10935-C4E4-4A31-A905-CBD3B88B377F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600" b="1"/>
            </a:lvl1pPr>
          </a:lstStyle>
          <a:p>
            <a:pPr>
              <a:defRPr/>
            </a:pPr>
            <a:fld id="{F8C3E294-9E12-4E24-B275-9BA1AC14E8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220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A3077-BD5E-4DF2-86F4-B2787C87502F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6EFB9-832D-41AA-B6AA-BA3FDFDF21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952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9D7AE-2072-4CF1-81AF-6875EEBBE225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BD6B9-3A33-4A94-B724-9A8AE8A254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277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D28BE-7261-4565-BDD9-9D13920F46F3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3FC6E-2B66-4D2D-9218-6A8657633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669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EF4F18-6076-4F4D-8701-7E7E46FB9673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73807-B068-4863-956B-F1B3361317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551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68202-4F72-4F7C-A5F1-E7B21F92F430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5520D-11A7-44C7-A268-AAA329E6ED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0358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A5998-59A9-4C76-B55B-B07AD0665B82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EA0E33-B153-4585-A659-757BD76D8C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186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FA7D98-E199-4E72-A4FE-85F4B3A9BF25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AEC9DF-A8CA-492E-9A95-52D982BBB1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34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88544F-A65A-D74E-8BCF-B53EC757B4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84401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906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7832353-B273-4796-B91B-464BBEE56517}" type="datetime1">
              <a:rPr lang="en-US"/>
              <a:pPr>
                <a:defRPr/>
              </a:pPr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34D79D8-E937-4F7F-B5D1-0FDC90AE5A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23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hlink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chemeClr val="hlink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CC00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174819-B9BA-D243-BCE0-80629020F2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4759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02EDA8-4D42-4A3F-8044-C86141763805}" type="slidenum">
              <a:rPr lang="en-US" sz="1600" b="1"/>
              <a:pPr>
                <a:defRPr/>
              </a:pPr>
              <a:t>1</a:t>
            </a:fld>
            <a:endParaRPr lang="en-US" sz="1600" b="1" dirty="0"/>
          </a:p>
        </p:txBody>
      </p:sp>
      <p:sp>
        <p:nvSpPr>
          <p:cNvPr id="3075" name="Title 1"/>
          <p:cNvSpPr>
            <a:spLocks noGrp="1"/>
          </p:cNvSpPr>
          <p:nvPr>
            <p:ph type="ctrTitle"/>
          </p:nvPr>
        </p:nvSpPr>
        <p:spPr>
          <a:xfrm>
            <a:off x="647700" y="1219200"/>
            <a:ext cx="7772400" cy="1828800"/>
          </a:xfrm>
        </p:spPr>
        <p:txBody>
          <a:bodyPr vert="horz"/>
          <a:lstStyle/>
          <a:p>
            <a:pPr eaLnBrk="1" hangingPunct="1"/>
            <a:br>
              <a:rPr lang="en-US" altLang="en-US" sz="3200" dirty="0"/>
            </a:br>
            <a:r>
              <a:rPr lang="en-US" altLang="en-US" sz="2400" dirty="0"/>
              <a:t>Final Project</a:t>
            </a:r>
            <a:br>
              <a:rPr lang="en-US" altLang="en-US" sz="3200" dirty="0"/>
            </a:br>
            <a:r>
              <a:rPr lang="en-US" altLang="en-US" sz="3200" b="1" dirty="0"/>
              <a:t>Medical Diagnostics Diabetic Retinopathy</a:t>
            </a:r>
            <a:br>
              <a:rPr lang="en-US" altLang="en-US" sz="3200" b="1" dirty="0"/>
            </a:br>
            <a:br>
              <a:rPr lang="en-US" altLang="en-US" sz="3200" b="1" dirty="0"/>
            </a:br>
            <a:endParaRPr lang="en-US" altLang="en-US" sz="3200" b="1" dirty="0"/>
          </a:p>
        </p:txBody>
      </p:sp>
      <p:sp>
        <p:nvSpPr>
          <p:cNvPr id="3076" name="Subtitle 2"/>
          <p:cNvSpPr>
            <a:spLocks noGrp="1"/>
          </p:cNvSpPr>
          <p:nvPr>
            <p:ph type="subTitle" idx="1"/>
          </p:nvPr>
        </p:nvSpPr>
        <p:spPr>
          <a:xfrm>
            <a:off x="1333500" y="2438400"/>
            <a:ext cx="6400800" cy="609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Thangaraj, SSiva</a:t>
            </a:r>
          </a:p>
          <a:p>
            <a:pPr eaLnBrk="1" hangingPunct="1">
              <a:defRPr/>
            </a:pPr>
            <a:endParaRPr lang="en-US" sz="2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77" name="Footer Placeholder 1"/>
          <p:cNvSpPr>
            <a:spLocks noGrp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CC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200">
                <a:solidFill>
                  <a:srgbClr val="898989"/>
                </a:solidFill>
              </a:rPr>
              <a:t>@Your Name</a:t>
            </a:r>
          </a:p>
        </p:txBody>
      </p:sp>
      <p:pic>
        <p:nvPicPr>
          <p:cNvPr id="3078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225" y="342900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55813" y="5029200"/>
            <a:ext cx="4949825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CSCI E-89 Deep Learning, Spring  2020</a:t>
            </a:r>
          </a:p>
          <a:p>
            <a:pPr algn="ctr">
              <a:defRPr/>
            </a:pPr>
            <a:r>
              <a:rPr lang="en-US" b="1" dirty="0">
                <a:solidFill>
                  <a:schemeClr val="bg2">
                    <a:lumMod val="25000"/>
                  </a:schemeClr>
                </a:solidFill>
              </a:rPr>
              <a:t>Harvard University Extension School</a:t>
            </a:r>
          </a:p>
          <a:p>
            <a:pPr algn="ctr">
              <a:defRPr/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</a:rPr>
              <a:t>Prof. </a:t>
            </a:r>
            <a:r>
              <a:rPr lang="en-US" sz="1600" dirty="0" err="1">
                <a:solidFill>
                  <a:schemeClr val="bg2">
                    <a:lumMod val="25000"/>
                  </a:schemeClr>
                </a:solidFill>
              </a:rPr>
              <a:t>Zoran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</a:rPr>
              <a:t> B. </a:t>
            </a:r>
            <a:r>
              <a:rPr lang="en-US" sz="1600" dirty="0" err="1">
                <a:solidFill>
                  <a:schemeClr val="bg2">
                    <a:lumMod val="25000"/>
                  </a:schemeClr>
                </a:solidFill>
              </a:rPr>
              <a:t>Djordjević</a:t>
            </a:r>
            <a:endParaRPr lang="en-US" sz="1600" dirty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troductio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roject scope is to analyze Diabetic Retinopathy, disease which causes blindness for Diabetes patient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100" name="Footer Placeholder 3"/>
          <p:cNvSpPr>
            <a:spLocks noGrp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CC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200">
                <a:solidFill>
                  <a:srgbClr val="898989"/>
                </a:solidFill>
              </a:rPr>
              <a:t>@Your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E1BF35-675D-491F-A687-B2C9BE79DFC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7BFDD4-137F-7947-9FC0-A542DAC5E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640" y="2438400"/>
            <a:ext cx="5049119" cy="34099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533D797-BB1E-5248-AB26-20F31D048038}"/>
              </a:ext>
            </a:extLst>
          </p:cNvPr>
          <p:cNvSpPr txBox="1"/>
          <p:nvPr/>
        </p:nvSpPr>
        <p:spPr>
          <a:xfrm>
            <a:off x="6553200" y="2971800"/>
            <a:ext cx="21083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NN</a:t>
            </a:r>
          </a:p>
          <a:p>
            <a:endParaRPr lang="en-US" dirty="0"/>
          </a:p>
          <a:p>
            <a:r>
              <a:rPr lang="en-US" dirty="0"/>
              <a:t>TensorFlow. </a:t>
            </a:r>
            <a:r>
              <a:rPr lang="en-US" dirty="0" err="1"/>
              <a:t>KEr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22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02926D-49A4-A547-9CCA-B2E8EFCEF5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2328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9EAB02-ED8C-484F-BE47-91D30C363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B65393-B951-C94C-9478-11F6BD03B9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s Loading with input images to CNN Network</a:t>
            </a:r>
          </a:p>
          <a:p>
            <a:r>
              <a:rPr lang="en-US" dirty="0"/>
              <a:t>Applied filters to create a feature map.</a:t>
            </a:r>
          </a:p>
          <a:p>
            <a:r>
              <a:rPr lang="en-US" dirty="0"/>
              <a:t>Applied </a:t>
            </a:r>
            <a:r>
              <a:rPr lang="en-US" dirty="0" err="1"/>
              <a:t>PReLU</a:t>
            </a:r>
            <a:r>
              <a:rPr lang="en-US" dirty="0"/>
              <a:t> function to increase non-linearity and balance</a:t>
            </a:r>
          </a:p>
          <a:p>
            <a:r>
              <a:rPr lang="en-US" dirty="0"/>
              <a:t>Applied pooling layer to each feature map.</a:t>
            </a:r>
          </a:p>
          <a:p>
            <a:r>
              <a:rPr lang="en-US" dirty="0"/>
              <a:t>Finally, flattened the pooled images into one long vector.</a:t>
            </a:r>
          </a:p>
          <a:p>
            <a:r>
              <a:rPr lang="en-US" dirty="0"/>
              <a:t>Inputs the vector into a fully CNN to predic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D7C7FE-0EBB-AA4A-8EA6-6A021B863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@Your 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ECEBB-F3E0-A34F-9A8D-96FD20F87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C3E294-9E12-4E24-B275-9BA1AC14E86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21E1E6-6DF8-D044-9005-A474D1FF67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3281846"/>
            <a:ext cx="59055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71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YouTube URLs, Last Pag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wo minute (short): https://</a:t>
            </a:r>
            <a:r>
              <a:rPr lang="en-US" dirty="0" err="1"/>
              <a:t>youtu.be</a:t>
            </a:r>
            <a:r>
              <a:rPr lang="en-US" dirty="0"/>
              <a:t>/ObIUpZ5_kmQ</a:t>
            </a:r>
          </a:p>
          <a:p>
            <a:r>
              <a:rPr lang="en-US" dirty="0"/>
              <a:t>15 minutes (long):</a:t>
            </a:r>
          </a:p>
        </p:txBody>
      </p:sp>
      <p:sp>
        <p:nvSpPr>
          <p:cNvPr id="4100" name="Footer Placeholder 3"/>
          <p:cNvSpPr>
            <a:spLocks noGrp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CC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200">
                <a:solidFill>
                  <a:srgbClr val="898989"/>
                </a:solidFill>
              </a:rPr>
              <a:t>@Your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E1BF35-675D-491F-A687-B2C9BE79DFC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357</TotalTime>
  <Words>145</Words>
  <Application>Microsoft Macintosh PowerPoint</Application>
  <PresentationFormat>On-screen Show (4:3)</PresentationFormat>
  <Paragraphs>3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Office Theme</vt:lpstr>
      <vt:lpstr>think-cell Slide</vt:lpstr>
      <vt:lpstr> Final Project Medical Diagnostics Diabetic Retinopathy  </vt:lpstr>
      <vt:lpstr>Introduction</vt:lpstr>
      <vt:lpstr>Steps</vt:lpstr>
      <vt:lpstr>YouTube URLs, Last P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zdjordje</dc:creator>
  <cp:lastModifiedBy>SSiva Raja</cp:lastModifiedBy>
  <cp:revision>878</cp:revision>
  <cp:lastPrinted>2012-11-30T20:59:45Z</cp:lastPrinted>
  <dcterms:created xsi:type="dcterms:W3CDTF">2006-08-16T00:00:00Z</dcterms:created>
  <dcterms:modified xsi:type="dcterms:W3CDTF">2020-12-11T23:17:51Z</dcterms:modified>
</cp:coreProperties>
</file>